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"/>
  </p:notesMasterIdLst>
  <p:sldIdLst>
    <p:sldId id="257" r:id="rId2"/>
    <p:sldId id="258" r:id="rId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2C2DE6-744C-498B-A893-73FFB40C6DF3}" type="datetimeFigureOut">
              <a:rPr lang="en-US" smtClean="0"/>
              <a:t>2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D6DAE8-D193-491E-AC47-0163D0D87D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82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489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89428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136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722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9" name="Freeform 7"/>
          <p:cNvSpPr>
            <a:spLocks/>
          </p:cNvSpPr>
          <p:nvPr userDrawn="1"/>
        </p:nvSpPr>
        <p:spPr bwMode="auto">
          <a:xfrm>
            <a:off x="3852862" y="0"/>
            <a:ext cx="5291138" cy="6854825"/>
          </a:xfrm>
          <a:custGeom>
            <a:avLst/>
            <a:gdLst/>
            <a:ahLst/>
            <a:cxnLst>
              <a:cxn ang="0">
                <a:pos x="4444" y="0"/>
              </a:cxn>
              <a:cxn ang="0">
                <a:pos x="4444" y="32"/>
              </a:cxn>
              <a:cxn ang="0">
                <a:pos x="4444" y="4292"/>
              </a:cxn>
              <a:cxn ang="0">
                <a:pos x="4440" y="4306"/>
              </a:cxn>
              <a:cxn ang="0">
                <a:pos x="4426" y="4314"/>
              </a:cxn>
              <a:cxn ang="0">
                <a:pos x="4326" y="4318"/>
              </a:cxn>
              <a:cxn ang="0">
                <a:pos x="4228" y="4310"/>
              </a:cxn>
              <a:cxn ang="0">
                <a:pos x="4076" y="4282"/>
              </a:cxn>
              <a:cxn ang="0">
                <a:pos x="3928" y="4240"/>
              </a:cxn>
              <a:cxn ang="0">
                <a:pos x="3740" y="4170"/>
              </a:cxn>
              <a:cxn ang="0">
                <a:pos x="3474" y="4042"/>
              </a:cxn>
              <a:cxn ang="0">
                <a:pos x="3216" y="3896"/>
              </a:cxn>
              <a:cxn ang="0">
                <a:pos x="3024" y="3772"/>
              </a:cxn>
              <a:cxn ang="0">
                <a:pos x="2704" y="3544"/>
              </a:cxn>
              <a:cxn ang="0">
                <a:pos x="2396" y="3300"/>
              </a:cxn>
              <a:cxn ang="0">
                <a:pos x="2180" y="3116"/>
              </a:cxn>
              <a:cxn ang="0">
                <a:pos x="2256" y="2964"/>
              </a:cxn>
              <a:cxn ang="0">
                <a:pos x="2286" y="2890"/>
              </a:cxn>
              <a:cxn ang="0">
                <a:pos x="2322" y="2774"/>
              </a:cxn>
              <a:cxn ang="0">
                <a:pos x="2338" y="2654"/>
              </a:cxn>
              <a:cxn ang="0">
                <a:pos x="2336" y="2562"/>
              </a:cxn>
              <a:cxn ang="0">
                <a:pos x="2306" y="2432"/>
              </a:cxn>
              <a:cxn ang="0">
                <a:pos x="2242" y="2310"/>
              </a:cxn>
              <a:cxn ang="0">
                <a:pos x="2188" y="2238"/>
              </a:cxn>
              <a:cxn ang="0">
                <a:pos x="2092" y="2144"/>
              </a:cxn>
              <a:cxn ang="0">
                <a:pos x="1986" y="2062"/>
              </a:cxn>
              <a:cxn ang="0">
                <a:pos x="1878" y="1990"/>
              </a:cxn>
              <a:cxn ang="0">
                <a:pos x="1712" y="1894"/>
              </a:cxn>
              <a:cxn ang="0">
                <a:pos x="1538" y="1808"/>
              </a:cxn>
              <a:cxn ang="0">
                <a:pos x="1156" y="1640"/>
              </a:cxn>
              <a:cxn ang="0">
                <a:pos x="710" y="1446"/>
              </a:cxn>
              <a:cxn ang="0">
                <a:pos x="524" y="1350"/>
              </a:cxn>
              <a:cxn ang="0">
                <a:pos x="354" y="1230"/>
              </a:cxn>
              <a:cxn ang="0">
                <a:pos x="262" y="1144"/>
              </a:cxn>
              <a:cxn ang="0">
                <a:pos x="158" y="1020"/>
              </a:cxn>
              <a:cxn ang="0">
                <a:pos x="80" y="884"/>
              </a:cxn>
              <a:cxn ang="0">
                <a:pos x="28" y="740"/>
              </a:cxn>
              <a:cxn ang="0">
                <a:pos x="2" y="584"/>
              </a:cxn>
              <a:cxn ang="0">
                <a:pos x="4" y="418"/>
              </a:cxn>
              <a:cxn ang="0">
                <a:pos x="18" y="314"/>
              </a:cxn>
              <a:cxn ang="0">
                <a:pos x="58" y="162"/>
              </a:cxn>
              <a:cxn ang="0">
                <a:pos x="118" y="16"/>
              </a:cxn>
              <a:cxn ang="0">
                <a:pos x="122" y="0"/>
              </a:cxn>
            </a:cxnLst>
            <a:rect l="0" t="0" r="r" b="b"/>
            <a:pathLst>
              <a:path w="4444" h="4318">
                <a:moveTo>
                  <a:pt x="122" y="0"/>
                </a:moveTo>
                <a:lnTo>
                  <a:pt x="122" y="0"/>
                </a:lnTo>
                <a:lnTo>
                  <a:pt x="4444" y="0"/>
                </a:lnTo>
                <a:lnTo>
                  <a:pt x="4444" y="0"/>
                </a:lnTo>
                <a:lnTo>
                  <a:pt x="4444" y="32"/>
                </a:lnTo>
                <a:lnTo>
                  <a:pt x="4444" y="32"/>
                </a:lnTo>
                <a:lnTo>
                  <a:pt x="4444" y="4272"/>
                </a:lnTo>
                <a:lnTo>
                  <a:pt x="4444" y="4272"/>
                </a:lnTo>
                <a:lnTo>
                  <a:pt x="4444" y="4292"/>
                </a:lnTo>
                <a:lnTo>
                  <a:pt x="4444" y="4292"/>
                </a:lnTo>
                <a:lnTo>
                  <a:pt x="4444" y="4300"/>
                </a:lnTo>
                <a:lnTo>
                  <a:pt x="4440" y="4306"/>
                </a:lnTo>
                <a:lnTo>
                  <a:pt x="4436" y="4310"/>
                </a:lnTo>
                <a:lnTo>
                  <a:pt x="4426" y="4314"/>
                </a:lnTo>
                <a:lnTo>
                  <a:pt x="4426" y="4314"/>
                </a:lnTo>
                <a:lnTo>
                  <a:pt x="4402" y="4316"/>
                </a:lnTo>
                <a:lnTo>
                  <a:pt x="4376" y="4318"/>
                </a:lnTo>
                <a:lnTo>
                  <a:pt x="4326" y="4318"/>
                </a:lnTo>
                <a:lnTo>
                  <a:pt x="4278" y="4316"/>
                </a:lnTo>
                <a:lnTo>
                  <a:pt x="4228" y="4310"/>
                </a:lnTo>
                <a:lnTo>
                  <a:pt x="4228" y="4310"/>
                </a:lnTo>
                <a:lnTo>
                  <a:pt x="4176" y="4302"/>
                </a:lnTo>
                <a:lnTo>
                  <a:pt x="4126" y="4294"/>
                </a:lnTo>
                <a:lnTo>
                  <a:pt x="4076" y="4282"/>
                </a:lnTo>
                <a:lnTo>
                  <a:pt x="4026" y="4270"/>
                </a:lnTo>
                <a:lnTo>
                  <a:pt x="3978" y="4256"/>
                </a:lnTo>
                <a:lnTo>
                  <a:pt x="3928" y="4240"/>
                </a:lnTo>
                <a:lnTo>
                  <a:pt x="3832" y="4206"/>
                </a:lnTo>
                <a:lnTo>
                  <a:pt x="3832" y="4206"/>
                </a:lnTo>
                <a:lnTo>
                  <a:pt x="3740" y="4170"/>
                </a:lnTo>
                <a:lnTo>
                  <a:pt x="3650" y="4130"/>
                </a:lnTo>
                <a:lnTo>
                  <a:pt x="3562" y="4088"/>
                </a:lnTo>
                <a:lnTo>
                  <a:pt x="3474" y="4042"/>
                </a:lnTo>
                <a:lnTo>
                  <a:pt x="3386" y="3996"/>
                </a:lnTo>
                <a:lnTo>
                  <a:pt x="3302" y="3946"/>
                </a:lnTo>
                <a:lnTo>
                  <a:pt x="3216" y="3896"/>
                </a:lnTo>
                <a:lnTo>
                  <a:pt x="3134" y="3844"/>
                </a:lnTo>
                <a:lnTo>
                  <a:pt x="3134" y="3844"/>
                </a:lnTo>
                <a:lnTo>
                  <a:pt x="3024" y="3772"/>
                </a:lnTo>
                <a:lnTo>
                  <a:pt x="2916" y="3698"/>
                </a:lnTo>
                <a:lnTo>
                  <a:pt x="2808" y="3622"/>
                </a:lnTo>
                <a:lnTo>
                  <a:pt x="2704" y="3544"/>
                </a:lnTo>
                <a:lnTo>
                  <a:pt x="2600" y="3464"/>
                </a:lnTo>
                <a:lnTo>
                  <a:pt x="2498" y="3382"/>
                </a:lnTo>
                <a:lnTo>
                  <a:pt x="2396" y="3300"/>
                </a:lnTo>
                <a:lnTo>
                  <a:pt x="2296" y="3214"/>
                </a:lnTo>
                <a:lnTo>
                  <a:pt x="2296" y="3214"/>
                </a:lnTo>
                <a:lnTo>
                  <a:pt x="2180" y="3116"/>
                </a:lnTo>
                <a:lnTo>
                  <a:pt x="2180" y="3116"/>
                </a:lnTo>
                <a:lnTo>
                  <a:pt x="2220" y="3040"/>
                </a:lnTo>
                <a:lnTo>
                  <a:pt x="2256" y="2964"/>
                </a:lnTo>
                <a:lnTo>
                  <a:pt x="2256" y="2964"/>
                </a:lnTo>
                <a:lnTo>
                  <a:pt x="2272" y="2928"/>
                </a:lnTo>
                <a:lnTo>
                  <a:pt x="2286" y="2890"/>
                </a:lnTo>
                <a:lnTo>
                  <a:pt x="2300" y="2852"/>
                </a:lnTo>
                <a:lnTo>
                  <a:pt x="2312" y="2814"/>
                </a:lnTo>
                <a:lnTo>
                  <a:pt x="2322" y="2774"/>
                </a:lnTo>
                <a:lnTo>
                  <a:pt x="2330" y="2736"/>
                </a:lnTo>
                <a:lnTo>
                  <a:pt x="2334" y="2696"/>
                </a:lnTo>
                <a:lnTo>
                  <a:pt x="2338" y="2654"/>
                </a:lnTo>
                <a:lnTo>
                  <a:pt x="2338" y="2654"/>
                </a:lnTo>
                <a:lnTo>
                  <a:pt x="2340" y="2608"/>
                </a:lnTo>
                <a:lnTo>
                  <a:pt x="2336" y="2562"/>
                </a:lnTo>
                <a:lnTo>
                  <a:pt x="2330" y="2518"/>
                </a:lnTo>
                <a:lnTo>
                  <a:pt x="2320" y="2474"/>
                </a:lnTo>
                <a:lnTo>
                  <a:pt x="2306" y="2432"/>
                </a:lnTo>
                <a:lnTo>
                  <a:pt x="2288" y="2390"/>
                </a:lnTo>
                <a:lnTo>
                  <a:pt x="2266" y="2350"/>
                </a:lnTo>
                <a:lnTo>
                  <a:pt x="2242" y="2310"/>
                </a:lnTo>
                <a:lnTo>
                  <a:pt x="2242" y="2310"/>
                </a:lnTo>
                <a:lnTo>
                  <a:pt x="2216" y="2274"/>
                </a:lnTo>
                <a:lnTo>
                  <a:pt x="2188" y="2238"/>
                </a:lnTo>
                <a:lnTo>
                  <a:pt x="2158" y="2206"/>
                </a:lnTo>
                <a:lnTo>
                  <a:pt x="2126" y="2174"/>
                </a:lnTo>
                <a:lnTo>
                  <a:pt x="2092" y="2144"/>
                </a:lnTo>
                <a:lnTo>
                  <a:pt x="2058" y="2116"/>
                </a:lnTo>
                <a:lnTo>
                  <a:pt x="2022" y="2088"/>
                </a:lnTo>
                <a:lnTo>
                  <a:pt x="1986" y="2062"/>
                </a:lnTo>
                <a:lnTo>
                  <a:pt x="1986" y="2062"/>
                </a:lnTo>
                <a:lnTo>
                  <a:pt x="1932" y="2024"/>
                </a:lnTo>
                <a:lnTo>
                  <a:pt x="1878" y="1990"/>
                </a:lnTo>
                <a:lnTo>
                  <a:pt x="1824" y="1956"/>
                </a:lnTo>
                <a:lnTo>
                  <a:pt x="1768" y="1924"/>
                </a:lnTo>
                <a:lnTo>
                  <a:pt x="1712" y="1894"/>
                </a:lnTo>
                <a:lnTo>
                  <a:pt x="1654" y="1864"/>
                </a:lnTo>
                <a:lnTo>
                  <a:pt x="1596" y="1836"/>
                </a:lnTo>
                <a:lnTo>
                  <a:pt x="1538" y="1808"/>
                </a:lnTo>
                <a:lnTo>
                  <a:pt x="1538" y="1808"/>
                </a:lnTo>
                <a:lnTo>
                  <a:pt x="1346" y="1724"/>
                </a:lnTo>
                <a:lnTo>
                  <a:pt x="1156" y="1640"/>
                </a:lnTo>
                <a:lnTo>
                  <a:pt x="774" y="1474"/>
                </a:lnTo>
                <a:lnTo>
                  <a:pt x="774" y="1474"/>
                </a:lnTo>
                <a:lnTo>
                  <a:pt x="710" y="1446"/>
                </a:lnTo>
                <a:lnTo>
                  <a:pt x="646" y="1416"/>
                </a:lnTo>
                <a:lnTo>
                  <a:pt x="584" y="1384"/>
                </a:lnTo>
                <a:lnTo>
                  <a:pt x="524" y="1350"/>
                </a:lnTo>
                <a:lnTo>
                  <a:pt x="466" y="1312"/>
                </a:lnTo>
                <a:lnTo>
                  <a:pt x="410" y="1272"/>
                </a:lnTo>
                <a:lnTo>
                  <a:pt x="354" y="1230"/>
                </a:lnTo>
                <a:lnTo>
                  <a:pt x="302" y="1184"/>
                </a:lnTo>
                <a:lnTo>
                  <a:pt x="302" y="1184"/>
                </a:lnTo>
                <a:lnTo>
                  <a:pt x="262" y="1144"/>
                </a:lnTo>
                <a:lnTo>
                  <a:pt x="224" y="1104"/>
                </a:lnTo>
                <a:lnTo>
                  <a:pt x="188" y="1062"/>
                </a:lnTo>
                <a:lnTo>
                  <a:pt x="158" y="1020"/>
                </a:lnTo>
                <a:lnTo>
                  <a:pt x="128" y="976"/>
                </a:lnTo>
                <a:lnTo>
                  <a:pt x="102" y="930"/>
                </a:lnTo>
                <a:lnTo>
                  <a:pt x="80" y="884"/>
                </a:lnTo>
                <a:lnTo>
                  <a:pt x="58" y="838"/>
                </a:lnTo>
                <a:lnTo>
                  <a:pt x="42" y="790"/>
                </a:lnTo>
                <a:lnTo>
                  <a:pt x="28" y="740"/>
                </a:lnTo>
                <a:lnTo>
                  <a:pt x="16" y="688"/>
                </a:lnTo>
                <a:lnTo>
                  <a:pt x="8" y="636"/>
                </a:lnTo>
                <a:lnTo>
                  <a:pt x="2" y="584"/>
                </a:lnTo>
                <a:lnTo>
                  <a:pt x="0" y="530"/>
                </a:lnTo>
                <a:lnTo>
                  <a:pt x="0" y="474"/>
                </a:lnTo>
                <a:lnTo>
                  <a:pt x="4" y="418"/>
                </a:lnTo>
                <a:lnTo>
                  <a:pt x="4" y="418"/>
                </a:lnTo>
                <a:lnTo>
                  <a:pt x="10" y="366"/>
                </a:lnTo>
                <a:lnTo>
                  <a:pt x="18" y="314"/>
                </a:lnTo>
                <a:lnTo>
                  <a:pt x="30" y="262"/>
                </a:lnTo>
                <a:lnTo>
                  <a:pt x="42" y="212"/>
                </a:lnTo>
                <a:lnTo>
                  <a:pt x="58" y="162"/>
                </a:lnTo>
                <a:lnTo>
                  <a:pt x="76" y="112"/>
                </a:lnTo>
                <a:lnTo>
                  <a:pt x="94" y="64"/>
                </a:lnTo>
                <a:lnTo>
                  <a:pt x="118" y="16"/>
                </a:lnTo>
                <a:lnTo>
                  <a:pt x="118" y="16"/>
                </a:lnTo>
                <a:lnTo>
                  <a:pt x="122" y="0"/>
                </a:lnTo>
                <a:lnTo>
                  <a:pt x="12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1358153"/>
            <a:ext cx="3580694" cy="1475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defRPr lang="en-US" sz="2600" b="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2976181"/>
            <a:ext cx="3580693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13" name="Group 14"/>
          <p:cNvGrpSpPr>
            <a:grpSpLocks noChangeAspect="1"/>
          </p:cNvGrpSpPr>
          <p:nvPr userDrawn="1"/>
        </p:nvGrpSpPr>
        <p:grpSpPr>
          <a:xfrm>
            <a:off x="312666" y="4537346"/>
            <a:ext cx="3780000" cy="1123654"/>
            <a:chOff x="728663" y="4465638"/>
            <a:chExt cx="5354637" cy="1193801"/>
          </a:xfrm>
        </p:grpSpPr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28663" y="4483101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582047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339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465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9976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086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827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5040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1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169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77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iGate Sensitiv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05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0" y="1219200"/>
            <a:ext cx="4648200" cy="18288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500" b="1" dirty="0"/>
              <a:t>Railway Reservation System</a:t>
            </a:r>
            <a:endParaRPr lang="en-US" sz="45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0"/>
            <a:ext cx="3579091" cy="322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71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mage result for railway reservation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500"/>
                    </a14:imgEffect>
                    <a14:imgEffect>
                      <a14:brightnessContrast bright="-21000" contrast="-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073" b="20660"/>
          <a:stretch/>
        </p:blipFill>
        <p:spPr bwMode="auto">
          <a:xfrm>
            <a:off x="0" y="0"/>
            <a:ext cx="9136743" cy="4020457"/>
          </a:xfrm>
          <a:prstGeom prst="rect">
            <a:avLst/>
          </a:prstGeom>
          <a:blipFill dpi="0" rotWithShape="1">
            <a:blip r:embed="rId4">
              <a:alphaModFix amt="0"/>
            </a:blip>
            <a:srcRect/>
            <a:tile tx="0" ty="0" sx="100000" sy="100000" flip="none" algn="tl"/>
          </a:blipFill>
          <a:effectLst>
            <a:glow rad="127000">
              <a:schemeClr val="accent1">
                <a:alpha val="0"/>
              </a:schemeClr>
            </a:glow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0" y="3048000"/>
            <a:ext cx="3581400" cy="3657600"/>
          </a:xfrm>
        </p:spPr>
        <p:txBody>
          <a:bodyPr/>
          <a:lstStyle/>
          <a:p>
            <a:r>
              <a:rPr lang="en-US" dirty="0" err="1" smtClean="0"/>
              <a:t>jhvbjhbk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52400" y="914400"/>
            <a:ext cx="3657600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 smtClean="0"/>
              <a:t>bvnvnbvmnbv</a:t>
            </a:r>
            <a:endParaRPr lang="en-US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624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</TotalTime>
  <Words>6</Words>
  <Application>Microsoft Office PowerPoint</Application>
  <PresentationFormat>On-screen Show (4:3)</PresentationFormat>
  <Paragraphs>4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think-cell Slide</vt:lpstr>
      <vt:lpstr>Railway Reservation System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way Reservation System</dc:title>
  <dc:creator>Jagarlamudi, Rahul</dc:creator>
  <cp:lastModifiedBy>Jagarlamudi, Rahul</cp:lastModifiedBy>
  <cp:revision>4</cp:revision>
  <dcterms:created xsi:type="dcterms:W3CDTF">2006-08-16T00:00:00Z</dcterms:created>
  <dcterms:modified xsi:type="dcterms:W3CDTF">2018-02-24T11:24:29Z</dcterms:modified>
</cp:coreProperties>
</file>